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  <p:sldMasterId id="2147484292" r:id="rId2"/>
    <p:sldMasterId id="2147484537" r:id="rId3"/>
    <p:sldMasterId id="2147484319" r:id="rId4"/>
    <p:sldMasterId id="2147484353" r:id="rId5"/>
    <p:sldMasterId id="2147484393" r:id="rId6"/>
    <p:sldMasterId id="2147484437" r:id="rId7"/>
  </p:sldMasterIdLst>
  <p:sldIdLst>
    <p:sldId id="256" r:id="rId8"/>
    <p:sldId id="257" r:id="rId9"/>
    <p:sldId id="259" r:id="rId10"/>
    <p:sldId id="260" r:id="rId11"/>
    <p:sldId id="264" r:id="rId12"/>
    <p:sldId id="261" r:id="rId13"/>
    <p:sldId id="262" r:id="rId14"/>
    <p:sldId id="263" r:id="rId15"/>
    <p:sldId id="265" r:id="rId16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3" autoAdjust="0"/>
    <p:restoredTop sz="94660"/>
  </p:normalViewPr>
  <p:slideViewPr>
    <p:cSldViewPr snapToGrid="0">
      <p:cViewPr varScale="1">
        <p:scale>
          <a:sx n="126" d="100"/>
          <a:sy n="126" d="100"/>
        </p:scale>
        <p:origin x="42" y="438"/>
      </p:cViewPr>
      <p:guideLst>
        <p:guide orient="horz" pos="75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w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w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w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78072"/>
            <a:ext cx="9144000" cy="1665428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577368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351925"/>
            <a:ext cx="5024960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53593" y="2351925"/>
            <a:ext cx="3154741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5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8" name="Полилиния 37"/>
          <p:cNvSpPr/>
          <p:nvPr/>
        </p:nvSpPr>
        <p:spPr bwMode="auto">
          <a:xfrm>
            <a:off x="4844394" y="-1929"/>
            <a:ext cx="4305387" cy="5153178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003145" y="170985"/>
            <a:ext cx="4137788" cy="4972515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7788" h="4873632">
                <a:moveTo>
                  <a:pt x="4108938" y="40794"/>
                </a:moveTo>
                <a:lnTo>
                  <a:pt x="4136800" y="0"/>
                </a:lnTo>
                <a:cubicBezTo>
                  <a:pt x="4133375" y="1624544"/>
                  <a:pt x="4140225" y="3249088"/>
                  <a:pt x="4136800" y="4873632"/>
                </a:cubicBezTo>
                <a:lnTo>
                  <a:pt x="0" y="4873632"/>
                </a:lnTo>
                <a:lnTo>
                  <a:pt x="4108938" y="40794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430371" y="0"/>
            <a:ext cx="3735147" cy="2239922"/>
          </a:xfrm>
          <a:prstGeom prst="flowChartMerge">
            <a:avLst/>
          </a:prstGeo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85" y="357166"/>
            <a:ext cx="876123" cy="165600"/>
          </a:xfrm>
          <a:prstGeom prst="rect">
            <a:avLst/>
          </a:prstGeom>
        </p:spPr>
      </p:pic>
      <p:sp>
        <p:nvSpPr>
          <p:cNvPr id="14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25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26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29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5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9" y="2291184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92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8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85987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3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956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6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6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8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276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19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6" idx="3"/>
          </p:cNvCxnSpPr>
          <p:nvPr/>
        </p:nvCxnSpPr>
        <p:spPr bwMode="auto">
          <a:xfrm flipH="1" flipV="1">
            <a:off x="5104601" y="4659166"/>
            <a:ext cx="4039404" cy="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3819313" y="4520666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8FCD8F3-C746-4DE4-8045-39CBABF7A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39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440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8561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96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2" idx="3"/>
          </p:cNvCxnSpPr>
          <p:nvPr/>
        </p:nvCxnSpPr>
        <p:spPr bwMode="auto">
          <a:xfrm flipH="1" flipV="1">
            <a:off x="5764121" y="4656786"/>
            <a:ext cx="3369172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endCxn id="32" idx="1"/>
          </p:cNvCxnSpPr>
          <p:nvPr/>
        </p:nvCxnSpPr>
        <p:spPr bwMode="auto">
          <a:xfrm flipV="1">
            <a:off x="-834" y="4656786"/>
            <a:ext cx="3819165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220086" y="3"/>
            <a:ext cx="2781533" cy="51434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TextBox 31"/>
          <p:cNvSpPr txBox="1"/>
          <p:nvPr/>
        </p:nvSpPr>
        <p:spPr>
          <a:xfrm>
            <a:off x="3818331" y="4518286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02D23F4-C02D-4C1E-BE41-8B09B121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622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34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725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97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6632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7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02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9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1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6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2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05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0641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 bwMode="auto">
          <a:xfrm>
            <a:off x="0" y="0"/>
            <a:ext cx="9144000" cy="51444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8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51130" y="1400495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7" y="3149762"/>
            <a:ext cx="7216773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50926" y="4140804"/>
            <a:ext cx="7216773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" y="361700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87143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30164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1945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98647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4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76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48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9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5301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2777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417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76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70510" y="331723"/>
            <a:ext cx="1159938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984813"/>
            <a:ext cx="5291667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2540" y="1210582"/>
            <a:ext cx="4645860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2338" y="2737470"/>
            <a:ext cx="4645990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2337" y="3614591"/>
            <a:ext cx="4645990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6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5504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0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7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74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1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019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0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47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153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01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008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7448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3502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3869267" y="984813"/>
            <a:ext cx="5274733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123267" y="1210582"/>
            <a:ext cx="4761175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23047" y="2737470"/>
            <a:ext cx="4761308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23046" y="3614591"/>
            <a:ext cx="4761308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312248" y="331723"/>
            <a:ext cx="1114216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8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577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0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840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4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5577276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3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60594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1" y="35716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393540" y="3094276"/>
            <a:ext cx="8414796" cy="1732369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0"/>
              </a:spcBef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203902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225922"/>
            <a:ext cx="4644059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287562" y="2225922"/>
            <a:ext cx="3520772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18.v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34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60.xml"/><Relationship Id="rId4" Type="http://schemas.openxmlformats.org/officeDocument/2006/relationships/slideLayout" Target="../slideLayouts/slideLayout59.xml"/><Relationship Id="rId9" Type="http://schemas.openxmlformats.org/officeDocument/2006/relationships/vmlDrawing" Target="../drawings/vmlDrawing34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24330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0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90" r:id="rId5"/>
    <p:sldLayoutId id="2147484291" r:id="rId6"/>
    <p:sldLayoutId id="2147484205" r:id="rId7"/>
    <p:sldLayoutId id="2147484251" r:id="rId8"/>
    <p:sldLayoutId id="2147484206" r:id="rId9"/>
    <p:sldLayoutId id="2147484250" r:id="rId10"/>
    <p:sldLayoutId id="2147484228" r:id="rId11"/>
    <p:sldLayoutId id="2147484247" r:id="rId12"/>
    <p:sldLayoutId id="214748424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66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534" r:id="rId3"/>
    <p:sldLayoutId id="2147484535" r:id="rId4"/>
    <p:sldLayoutId id="2147484536" r:id="rId5"/>
    <p:sldLayoutId id="214748454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54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6" r:id="rId6"/>
    <p:sldLayoutId id="214748454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10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58787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6" r:id="rId7"/>
    <p:sldLayoutId id="2147484352" r:id="rId8"/>
    <p:sldLayoutId id="2147484549" r:id="rId9"/>
    <p:sldLayoutId id="2147484550" r:id="rId10"/>
    <p:sldLayoutId id="214748454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5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00736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551" r:id="rId7"/>
    <p:sldLayoutId id="2147484552" r:id="rId8"/>
    <p:sldLayoutId id="214748455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83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556" r:id="rId5"/>
    <p:sldLayoutId id="2147484555" r:id="rId6"/>
    <p:sldLayoutId id="2147484554" r:id="rId7"/>
    <p:sldLayoutId id="2147484557" r:id="rId8"/>
    <p:sldLayoutId id="21474845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07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9376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  <p:sldLayoutId id="2147484559" r:id="rId5"/>
    <p:sldLayoutId id="2147484560" r:id="rId6"/>
    <p:sldLayoutId id="214748456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ru.freepik.com/" TargetMode="External"/><Relationship Id="rId3" Type="http://schemas.openxmlformats.org/officeDocument/2006/relationships/hyperlink" Target="https://social.sibur.ru/group/396/" TargetMode="External"/><Relationship Id="rId7" Type="http://schemas.openxmlformats.org/officeDocument/2006/relationships/hyperlink" Target="https://icons8.ru/illustrations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ru.freepik.com/free-icons" TargetMode="External"/><Relationship Id="rId5" Type="http://schemas.openxmlformats.org/officeDocument/2006/relationships/hyperlink" Target="http://sergeychikin.ru/365/" TargetMode="External"/><Relationship Id="rId4" Type="http://schemas.openxmlformats.org/officeDocument/2006/relationships/hyperlink" Target="http://sibur.photas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Людмила Змитрович</a:t>
            </a:r>
          </a:p>
          <a:p>
            <a:r>
              <a:rPr lang="ru-RU" dirty="0" smtClean="0"/>
              <a:t>Эксперт</a:t>
            </a:r>
          </a:p>
          <a:p>
            <a:r>
              <a:rPr lang="ru-RU" dirty="0"/>
              <a:t>Операционная деятельность ИТ</a:t>
            </a:r>
          </a:p>
          <a:p>
            <a:r>
              <a:rPr lang="ru-RU" dirty="0"/>
              <a:t>Развитие ИТ и цифровых </a:t>
            </a:r>
            <a:r>
              <a:rPr lang="ru-RU" dirty="0" smtClean="0"/>
              <a:t>компетенций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Дизайн </a:t>
            </a:r>
            <a:r>
              <a:rPr lang="ru-RU" dirty="0" smtClean="0"/>
              <a:t>презентаций</a:t>
            </a:r>
          </a:p>
          <a:p>
            <a:r>
              <a:rPr lang="ru-RU" dirty="0" smtClean="0"/>
              <a:t>10.03.2021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изайн презентац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477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3166947" y="0"/>
            <a:ext cx="5977054" cy="5143500"/>
          </a:xfrm>
          <a:custGeom>
            <a:avLst/>
            <a:gdLst>
              <a:gd name="connsiteX0" fmla="*/ 0 w 4664427"/>
              <a:gd name="connsiteY0" fmla="*/ 0 h 5143500"/>
              <a:gd name="connsiteX1" fmla="*/ 4664427 w 4664427"/>
              <a:gd name="connsiteY1" fmla="*/ 0 h 5143500"/>
              <a:gd name="connsiteX2" fmla="*/ 4664427 w 4664427"/>
              <a:gd name="connsiteY2" fmla="*/ 5143500 h 5143500"/>
              <a:gd name="connsiteX3" fmla="*/ 0 w 4664427"/>
              <a:gd name="connsiteY3" fmla="*/ 5143500 h 5143500"/>
              <a:gd name="connsiteX4" fmla="*/ 0 w 4664427"/>
              <a:gd name="connsiteY4" fmla="*/ 0 h 5143500"/>
              <a:gd name="connsiteX0" fmla="*/ 1598342 w 4664427"/>
              <a:gd name="connsiteY0" fmla="*/ 0 h 5143500"/>
              <a:gd name="connsiteX1" fmla="*/ 4664427 w 4664427"/>
              <a:gd name="connsiteY1" fmla="*/ 0 h 5143500"/>
              <a:gd name="connsiteX2" fmla="*/ 4664427 w 4664427"/>
              <a:gd name="connsiteY2" fmla="*/ 5143500 h 5143500"/>
              <a:gd name="connsiteX3" fmla="*/ 0 w 4664427"/>
              <a:gd name="connsiteY3" fmla="*/ 5143500 h 5143500"/>
              <a:gd name="connsiteX4" fmla="*/ 1598342 w 4664427"/>
              <a:gd name="connsiteY4" fmla="*/ 0 h 5143500"/>
              <a:gd name="connsiteX0" fmla="*/ 1248938 w 4664427"/>
              <a:gd name="connsiteY0" fmla="*/ 0 h 5150934"/>
              <a:gd name="connsiteX1" fmla="*/ 4664427 w 4664427"/>
              <a:gd name="connsiteY1" fmla="*/ 7434 h 5150934"/>
              <a:gd name="connsiteX2" fmla="*/ 4664427 w 4664427"/>
              <a:gd name="connsiteY2" fmla="*/ 5150934 h 5150934"/>
              <a:gd name="connsiteX3" fmla="*/ 0 w 4664427"/>
              <a:gd name="connsiteY3" fmla="*/ 5150934 h 5150934"/>
              <a:gd name="connsiteX4" fmla="*/ 1248938 w 4664427"/>
              <a:gd name="connsiteY4" fmla="*/ 0 h 5150934"/>
              <a:gd name="connsiteX0" fmla="*/ 2549914 w 5965403"/>
              <a:gd name="connsiteY0" fmla="*/ 0 h 5150934"/>
              <a:gd name="connsiteX1" fmla="*/ 5965403 w 5965403"/>
              <a:gd name="connsiteY1" fmla="*/ 7434 h 5150934"/>
              <a:gd name="connsiteX2" fmla="*/ 5965403 w 5965403"/>
              <a:gd name="connsiteY2" fmla="*/ 5150934 h 5150934"/>
              <a:gd name="connsiteX3" fmla="*/ 0 w 5965403"/>
              <a:gd name="connsiteY3" fmla="*/ 5143500 h 5150934"/>
              <a:gd name="connsiteX4" fmla="*/ 2549914 w 5965403"/>
              <a:gd name="connsiteY4" fmla="*/ 0 h 5150934"/>
              <a:gd name="connsiteX0" fmla="*/ 1702421 w 5965403"/>
              <a:gd name="connsiteY0" fmla="*/ 0 h 5150934"/>
              <a:gd name="connsiteX1" fmla="*/ 5965403 w 5965403"/>
              <a:gd name="connsiteY1" fmla="*/ 7434 h 5150934"/>
              <a:gd name="connsiteX2" fmla="*/ 5965403 w 5965403"/>
              <a:gd name="connsiteY2" fmla="*/ 5150934 h 5150934"/>
              <a:gd name="connsiteX3" fmla="*/ 0 w 5965403"/>
              <a:gd name="connsiteY3" fmla="*/ 5143500 h 5150934"/>
              <a:gd name="connsiteX4" fmla="*/ 1702421 w 5965403"/>
              <a:gd name="connsiteY4" fmla="*/ 0 h 5150934"/>
              <a:gd name="connsiteX0" fmla="*/ 1880840 w 5965403"/>
              <a:gd name="connsiteY0" fmla="*/ 0 h 5143500"/>
              <a:gd name="connsiteX1" fmla="*/ 5965403 w 5965403"/>
              <a:gd name="connsiteY1" fmla="*/ 0 h 5143500"/>
              <a:gd name="connsiteX2" fmla="*/ 5965403 w 5965403"/>
              <a:gd name="connsiteY2" fmla="*/ 5143500 h 5143500"/>
              <a:gd name="connsiteX3" fmla="*/ 0 w 5965403"/>
              <a:gd name="connsiteY3" fmla="*/ 5136066 h 5143500"/>
              <a:gd name="connsiteX4" fmla="*/ 1880840 w 5965403"/>
              <a:gd name="connsiteY4" fmla="*/ 0 h 5143500"/>
              <a:gd name="connsiteX0" fmla="*/ 1821367 w 5965403"/>
              <a:gd name="connsiteY0" fmla="*/ 0 h 5143500"/>
              <a:gd name="connsiteX1" fmla="*/ 5965403 w 5965403"/>
              <a:gd name="connsiteY1" fmla="*/ 0 h 5143500"/>
              <a:gd name="connsiteX2" fmla="*/ 5965403 w 5965403"/>
              <a:gd name="connsiteY2" fmla="*/ 5143500 h 5143500"/>
              <a:gd name="connsiteX3" fmla="*/ 0 w 5965403"/>
              <a:gd name="connsiteY3" fmla="*/ 5136066 h 5143500"/>
              <a:gd name="connsiteX4" fmla="*/ 1821367 w 5965403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5403" h="5143500">
                <a:moveTo>
                  <a:pt x="1821367" y="0"/>
                </a:moveTo>
                <a:lnTo>
                  <a:pt x="5965403" y="0"/>
                </a:lnTo>
                <a:lnTo>
                  <a:pt x="5965403" y="5143500"/>
                </a:lnTo>
                <a:lnTo>
                  <a:pt x="0" y="5136066"/>
                </a:lnTo>
                <a:lnTo>
                  <a:pt x="1821367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равило 10/20/30 (10 слайдов, 20 минут, 30 размер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Заголовок = выво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Дополняет спике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Графика </a:t>
            </a:r>
            <a:r>
              <a:rPr lang="en-US" dirty="0"/>
              <a:t>&gt; </a:t>
            </a:r>
            <a:r>
              <a:rPr lang="ru-RU" dirty="0"/>
              <a:t>Текс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1 слайд = 1 иде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равило трех </a:t>
            </a:r>
            <a:r>
              <a:rPr lang="ru-RU" dirty="0"/>
              <a:t>секунд (время на охват данных на слайде)</a:t>
            </a:r>
            <a:endParaRPr lang="ru-RU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т четкого ограничения по разме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головок = структу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меняет спике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Текст + графи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 идея может «растекаться» на несколько слайд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т ограничения по времени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Виды презентаций</a:t>
            </a:r>
            <a:endParaRPr lang="ru-RU" sz="24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Внутренние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idx="20"/>
          </p:nvPr>
        </p:nvSpPr>
        <p:spPr>
          <a:xfrm>
            <a:off x="4831577" y="818732"/>
            <a:ext cx="4223975" cy="448751"/>
          </a:xfrm>
        </p:spPr>
        <p:txBody>
          <a:bodyPr/>
          <a:lstStyle/>
          <a:p>
            <a:r>
              <a:rPr lang="ru-RU" dirty="0"/>
              <a:t>внешние</a:t>
            </a:r>
            <a:endParaRPr lang="ru-RU" dirty="0"/>
          </a:p>
        </p:txBody>
      </p:sp>
      <p:sp>
        <p:nvSpPr>
          <p:cNvPr id="8" name="Шеврон 7"/>
          <p:cNvSpPr/>
          <p:nvPr/>
        </p:nvSpPr>
        <p:spPr bwMode="auto">
          <a:xfrm>
            <a:off x="243830" y="3111787"/>
            <a:ext cx="673100" cy="800100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04668" y="3284373"/>
            <a:ext cx="28743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Содержание важнее формы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55472" y="3284372"/>
            <a:ext cx="21439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Форма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+ содержание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2" name="Шеврон 11"/>
          <p:cNvSpPr/>
          <p:nvPr/>
        </p:nvSpPr>
        <p:spPr bwMode="auto">
          <a:xfrm>
            <a:off x="4694634" y="3109406"/>
            <a:ext cx="673100" cy="800100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58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3-5 базовых цветов для создания презент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единый стиль графических элемен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даем ритм презентации через повторы и их наруше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1-2 шрифта на презентацию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держиваем плотность слайд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уппируем данные по смысловым группа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графику и воздух для повышения читаемости групп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3 основных групп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ьем информацию на сегменты внутри одной групп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деляем ключевые элементы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линейку и/или сетку для организации информации на слайд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торостепенные элементы подчиняются главны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2 типов выравнивания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Контент </a:t>
            </a:r>
            <a:r>
              <a:rPr lang="ru-RU" dirty="0" smtClean="0"/>
              <a:t>сбалансирован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перегружаем слайд визуальн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воздух для организации простран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ольше не равно лучш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афика </a:t>
            </a:r>
            <a:r>
              <a:rPr lang="en-US" dirty="0" smtClean="0"/>
              <a:t>&gt; </a:t>
            </a:r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авила организации информаци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Группировка информации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ru-RU" dirty="0" smtClean="0"/>
              <a:t>Выравнивание элементов на слайде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ru-RU" dirty="0" smtClean="0"/>
              <a:t>Повторы и ритм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ru-RU" dirty="0" smtClean="0"/>
              <a:t>Воздух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9331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defTabSz="914400"/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Копировани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слайдов </a:t>
            </a:r>
            <a:r>
              <a:rPr lang="ru-RU" dirty="0"/>
              <a:t>из одного формата в другой. Используется для большого количества слайдов. Для этого необходимо: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Выделить нужные для перевода в новый формат слайды 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Скопировать в буфер обмена – Правая кнопка мыши &gt; Копировать (или </a:t>
            </a:r>
            <a:r>
              <a:rPr lang="ru-RU" dirty="0" err="1"/>
              <a:t>Ctrl+C</a:t>
            </a:r>
            <a:r>
              <a:rPr lang="ru-RU" dirty="0"/>
              <a:t>) 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Открыть новую презентацию в нужном формате </a:t>
            </a:r>
            <a:endParaRPr lang="en-US" dirty="0" smtClean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 smtClean="0"/>
              <a:t>Правая </a:t>
            </a:r>
            <a:r>
              <a:rPr lang="ru-RU" dirty="0"/>
              <a:t>кнопка мыши &gt; Параметры вставки &gt; Использовать конечную тему </a:t>
            </a:r>
            <a:endParaRPr lang="en-US" dirty="0"/>
          </a:p>
          <a:p>
            <a:pPr defTabSz="914400"/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Далее проверяем информацию на каждом слайде. Корректируем расположение объектов, цвет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Формат презентации </a:t>
            </a:r>
            <a:r>
              <a:rPr lang="en-US" sz="2400" dirty="0" smtClean="0"/>
              <a:t>A4 →</a:t>
            </a:r>
            <a:r>
              <a:rPr lang="ru-RU" sz="2400" dirty="0" smtClean="0"/>
              <a:t>16:9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К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опирование информации </a:t>
            </a:r>
            <a:r>
              <a:rPr lang="ru-RU" dirty="0"/>
              <a:t>на каждом слайде. Используется для небольшого количества слайдов. </a:t>
            </a:r>
            <a:r>
              <a:rPr lang="ru-RU" dirty="0" smtClean="0"/>
              <a:t>Для </a:t>
            </a:r>
            <a:r>
              <a:rPr lang="ru-RU" dirty="0"/>
              <a:t>этого </a:t>
            </a:r>
            <a:r>
              <a:rPr lang="ru-RU" dirty="0" smtClean="0"/>
              <a:t>необходим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Выделить </a:t>
            </a:r>
            <a:r>
              <a:rPr lang="ru-RU" dirty="0"/>
              <a:t>нужные объекты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копировать </a:t>
            </a:r>
            <a:r>
              <a:rPr lang="ru-RU" dirty="0"/>
              <a:t>в буфер обмена – Правая кнопка мыши &gt; Копировать (или </a:t>
            </a:r>
            <a:r>
              <a:rPr lang="ru-RU" dirty="0" err="1"/>
              <a:t>Ctrl+C</a:t>
            </a:r>
            <a:r>
              <a:rPr lang="ru-RU" dirty="0"/>
              <a:t>)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ткрыть </a:t>
            </a:r>
            <a:r>
              <a:rPr lang="ru-RU" dirty="0"/>
              <a:t>новую презентацию в нужном формате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авая </a:t>
            </a:r>
            <a:r>
              <a:rPr lang="ru-RU" dirty="0"/>
              <a:t>кнопка мыши &gt; Параметры вставки &gt; Сохранить исходное форматирование 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Далее </a:t>
            </a:r>
            <a:r>
              <a:rPr lang="ru-RU" dirty="0"/>
              <a:t>корректируем размер и расположение объектов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305" y="3355910"/>
            <a:ext cx="1094991" cy="4132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704" y="3355910"/>
            <a:ext cx="11811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4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оздаем собственные макеты слайдов с нужной модульной сетко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направляющие и сетку для организации объектов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головок = выво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-2 стро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В конце заголовков точки не ставятся </a:t>
            </a:r>
            <a:endParaRPr lang="ru-RU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играем со шрифтам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ый стиль, формат, цветовая гамм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сокое качеств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афика </a:t>
            </a:r>
            <a:r>
              <a:rPr lang="en-US" dirty="0" smtClean="0"/>
              <a:t>&gt; </a:t>
            </a:r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Разделы заменяют или дополняют содерж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вышают читаемость презентации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3"/>
          </p:nvPr>
        </p:nvSpPr>
        <p:spPr>
          <a:xfrm>
            <a:off x="6156000" y="3168806"/>
            <a:ext cx="2750196" cy="136516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готовые или создаем новые (Вид → Режимы образцов → Образец слайдов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Очевидное разграничение элементов на макете</a:t>
            </a:r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Структура</a:t>
            </a:r>
            <a:endParaRPr lang="ru-RU" sz="24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idx="17"/>
          </p:nvPr>
        </p:nvSpPr>
        <p:spPr>
          <a:xfrm>
            <a:off x="6156000" y="2798209"/>
            <a:ext cx="2736000" cy="448751"/>
          </a:xfrm>
        </p:spPr>
        <p:txBody>
          <a:bodyPr/>
          <a:lstStyle/>
          <a:p>
            <a:r>
              <a:rPr lang="ru-RU" dirty="0" smtClean="0"/>
              <a:t>макеты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ru-RU" dirty="0" smtClean="0"/>
              <a:t>разделы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idx="38"/>
          </p:nvPr>
        </p:nvSpPr>
        <p:spPr/>
        <p:txBody>
          <a:bodyPr/>
          <a:lstStyle/>
          <a:p>
            <a:r>
              <a:rPr lang="ru-RU" dirty="0" smtClean="0"/>
              <a:t>заголовк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idx="39"/>
          </p:nvPr>
        </p:nvSpPr>
        <p:spPr/>
        <p:txBody>
          <a:bodyPr/>
          <a:lstStyle/>
          <a:p>
            <a:r>
              <a:rPr lang="ru-RU" dirty="0" smtClean="0"/>
              <a:t>графика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idx="40"/>
          </p:nvPr>
        </p:nvSpPr>
        <p:spPr/>
        <p:txBody>
          <a:bodyPr/>
          <a:lstStyle/>
          <a:p>
            <a:r>
              <a:rPr lang="ru-RU" dirty="0" smtClean="0"/>
              <a:t>Модульная сетка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829" y="2580118"/>
            <a:ext cx="3811030" cy="2542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30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 умолчанию – не используе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ростая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стадий аним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используем сложные переходы между слайдам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ообразие формы и цве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2</a:t>
            </a:r>
            <a:r>
              <a:rPr lang="en-US" dirty="0" smtClean="0"/>
              <a:t>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екторные изображ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ез эффектов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сокое качеств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ые пропорции при обрезан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ая цветовая схем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4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ез эффек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охраняем пропор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2</a:t>
            </a:r>
            <a:r>
              <a:rPr lang="en-US" dirty="0" smtClean="0"/>
              <a:t>D</a:t>
            </a:r>
            <a:endParaRPr lang="ru-RU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бираем тип под данны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5-7 наборов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писи располагаем горизонтально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ли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ветлая залив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столбцов и строк (5 на 9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Контрастное выделение шапки и итог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равнивание содержания по формату данных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одбираем тип под </a:t>
            </a:r>
            <a:r>
              <a:rPr lang="ru-RU" dirty="0" smtClean="0"/>
              <a:t>цель визуализ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пиктограммы </a:t>
            </a:r>
            <a:endParaRPr lang="ru-RU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Графические элементы</a:t>
            </a:r>
            <a:endParaRPr lang="ru-RU" sz="24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54" name="Рисунок 53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57" name="Рисунок 56"/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111"/>
          <a:stretch>
            <a:fillRect/>
          </a:stretch>
        </p:blipFill>
        <p:spPr/>
      </p:pic>
      <p:pic>
        <p:nvPicPr>
          <p:cNvPr id="55" name="Рисунок 54"/>
          <p:cNvPicPr>
            <a:picLocks noGrp="1" noChangeAspect="1"/>
          </p:cNvPicPr>
          <p:nvPr>
            <p:ph type="pic" sz="quarter" idx="2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" b="1020"/>
          <a:stretch>
            <a:fillRect/>
          </a:stretch>
        </p:blipFill>
        <p:spPr/>
      </p:pic>
      <p:pic>
        <p:nvPicPr>
          <p:cNvPr id="58" name="Рисунок 57"/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7" b="4167"/>
          <a:stretch>
            <a:fillRect/>
          </a:stretch>
        </p:blipFill>
        <p:spPr/>
      </p:pic>
      <p:pic>
        <p:nvPicPr>
          <p:cNvPr id="56" name="Рисунок 55"/>
          <p:cNvPicPr>
            <a:picLocks noGrp="1" noChangeAspect="1"/>
          </p:cNvPicPr>
          <p:nvPr>
            <p:ph type="pic" sz="quarter" idx="2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0" r="6000"/>
          <a:stretch>
            <a:fillRect/>
          </a:stretch>
        </p:blipFill>
        <p:spPr/>
      </p:pic>
      <p:pic>
        <p:nvPicPr>
          <p:cNvPr id="59" name="Рисунок 58"/>
          <p:cNvPicPr>
            <a:picLocks noGrp="1" noChangeAspect="1"/>
          </p:cNvPicPr>
          <p:nvPr>
            <p:ph type="pic" sz="quarter" idx="2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6" name="Текст 15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ru-RU" dirty="0" smtClean="0"/>
              <a:t>Схемы</a:t>
            </a:r>
            <a:r>
              <a:rPr lang="en-US" dirty="0" smtClean="0"/>
              <a:t> (SMARTART)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idx="38"/>
          </p:nvPr>
        </p:nvSpPr>
        <p:spPr/>
        <p:txBody>
          <a:bodyPr/>
          <a:lstStyle/>
          <a:p>
            <a:r>
              <a:rPr lang="ru-RU" dirty="0" smtClean="0"/>
              <a:t>Диаграммы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idx="39"/>
          </p:nvPr>
        </p:nvSpPr>
        <p:spPr/>
        <p:txBody>
          <a:bodyPr/>
          <a:lstStyle/>
          <a:p>
            <a:r>
              <a:rPr lang="ru-RU" dirty="0" smtClean="0"/>
              <a:t>Иконографи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idx="40"/>
          </p:nvPr>
        </p:nvSpPr>
        <p:spPr/>
        <p:txBody>
          <a:bodyPr/>
          <a:lstStyle/>
          <a:p>
            <a:r>
              <a:rPr lang="ru-RU" dirty="0" smtClean="0"/>
              <a:t>Изображения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idx="41"/>
          </p:nvPr>
        </p:nvSpPr>
        <p:spPr/>
        <p:txBody>
          <a:bodyPr/>
          <a:lstStyle/>
          <a:p>
            <a:r>
              <a:rPr lang="ru-RU" dirty="0" smtClean="0"/>
              <a:t>Анимац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153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Тип данных → диаграмма</a:t>
            </a:r>
            <a:endParaRPr lang="ru-RU" sz="2400" dirty="0"/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7" name="Рисунок 16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8" name="Рисунок 17"/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9" name="Рисунок 1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sp>
        <p:nvSpPr>
          <p:cNvPr id="9" name="Текст 8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оля</a:t>
            </a:r>
            <a:r>
              <a:rPr lang="ru-RU" dirty="0"/>
              <a:t> – кольцевая/круговая, гистограмма с накоплением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Рейтинг</a:t>
            </a:r>
            <a:r>
              <a:rPr lang="ru-RU" dirty="0"/>
              <a:t> – линейная гистограмм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инамика</a:t>
            </a:r>
            <a:r>
              <a:rPr lang="ru-RU" dirty="0"/>
              <a:t> – график или столбчатая гистограмм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Вероятность</a:t>
            </a:r>
            <a:r>
              <a:rPr lang="ru-RU" dirty="0"/>
              <a:t> – тепловая карта, точечная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Несколько</a:t>
            </a:r>
            <a:r>
              <a:rPr lang="ru-RU" dirty="0"/>
              <a:t>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осей</a:t>
            </a:r>
            <a:r>
              <a:rPr lang="ru-RU" dirty="0"/>
              <a:t>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анных</a:t>
            </a:r>
            <a:r>
              <a:rPr lang="ru-RU" dirty="0"/>
              <a:t> – лепестковая, пузырьковая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5394" y="733740"/>
            <a:ext cx="4822918" cy="3617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1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Тип взаимосвязи → схема</a:t>
            </a:r>
            <a:endParaRPr lang="ru-RU" sz="2400" dirty="0"/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7" name="Рисунок 16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Рисунок 17"/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9" name="Рисунок 1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Текст 8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Хронология, последовательность </a:t>
            </a:r>
            <a:r>
              <a:rPr lang="ru-RU" dirty="0"/>
              <a:t>– </a:t>
            </a:r>
            <a:r>
              <a:rPr lang="ru-RU" dirty="0" err="1" smtClean="0"/>
              <a:t>таймлайн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Иерархия, структура </a:t>
            </a:r>
            <a:r>
              <a:rPr lang="ru-RU" dirty="0"/>
              <a:t>– дерево, каскад, блоки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Целостность</a:t>
            </a:r>
            <a:r>
              <a:rPr lang="ru-RU" dirty="0"/>
              <a:t> – пирамида, лепестки, пирог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Процесс</a:t>
            </a:r>
            <a:r>
              <a:rPr lang="ru-RU" dirty="0"/>
              <a:t> – горизонтальные стрелки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Цикл</a:t>
            </a:r>
            <a:r>
              <a:rPr lang="ru-RU" dirty="0"/>
              <a:t> – круговые стрелки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11576" y="1236546"/>
            <a:ext cx="5232424" cy="390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66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8080" y="99060"/>
            <a:ext cx="6725920" cy="50444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Полезные ресурсы в сети</a:t>
            </a:r>
            <a:endParaRPr lang="ru-RU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255600" y="838200"/>
            <a:ext cx="1927515" cy="26314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3"/>
              </a:rPr>
              <a:t>Группа в КЛИК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4"/>
              </a:rPr>
              <a:t>Фотобанк Сибур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5"/>
              </a:rPr>
              <a:t>Иконографика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6"/>
              </a:rPr>
              <a:t>Иконографика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7"/>
              </a:rPr>
              <a:t>Графика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8"/>
              </a:rPr>
              <a:t>Граф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718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C2B3E2E2-877C-4A0B-9E6A-75E2663F6E33}" vid="{95D91212-3B27-474D-90AD-EE89DE4EAB2D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09</TotalTime>
  <Words>584</Words>
  <Application>Microsoft Office PowerPoint</Application>
  <PresentationFormat>Экран (16:9)</PresentationFormat>
  <Paragraphs>142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Wingdings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Слайд think-cell</vt:lpstr>
      <vt:lpstr>Дизайн презентаций</vt:lpstr>
      <vt:lpstr>Виды презентаций</vt:lpstr>
      <vt:lpstr>Правила организации информации</vt:lpstr>
      <vt:lpstr>Формат презентации A4 →16:9</vt:lpstr>
      <vt:lpstr>Структура</vt:lpstr>
      <vt:lpstr>Графические элементы</vt:lpstr>
      <vt:lpstr>Тип данных → диаграмма</vt:lpstr>
      <vt:lpstr>Тип взаимосвязи → схема</vt:lpstr>
      <vt:lpstr>Полезные ресурсы в сети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зайн презентаций</dc:title>
  <dc:creator>Змитрович Людмила Александровна</dc:creator>
  <cp:lastModifiedBy>Змитрович Людмила Александровна</cp:lastModifiedBy>
  <cp:revision>25</cp:revision>
  <dcterms:created xsi:type="dcterms:W3CDTF">2021-03-10T02:51:01Z</dcterms:created>
  <dcterms:modified xsi:type="dcterms:W3CDTF">2021-03-10T06:20:07Z</dcterms:modified>
</cp:coreProperties>
</file>